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4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86427332176701E-2"/>
          <c:y val="0.13256490679554642"/>
          <c:w val="0.90505710514999183"/>
          <c:h val="0.79305347724018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03-468F-AD8B-B6B356F8D02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03-468F-AD8B-B6B356F8D02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03-468F-AD8B-B6B356F8D02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9265071"/>
        <c:axId val="209266991"/>
      </c:barChart>
      <c:catAx>
        <c:axId val="20926507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6991"/>
        <c:crosses val="autoZero"/>
        <c:auto val="1"/>
        <c:lblAlgn val="ctr"/>
        <c:lblOffset val="100"/>
        <c:noMultiLvlLbl val="0"/>
      </c:catAx>
      <c:valAx>
        <c:axId val="209266991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5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BE989-5DFB-D274-67CD-349A2B2766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A0889-F143-0E20-325D-F6C29462B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ed Data &amp; Insight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2A4CC-43A7-5ED8-D3DF-5F1CC832C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2397097"/>
            <a:ext cx="8201025" cy="6540252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B0DB63A2-2E90-3F05-54B2-3E97483AC7E1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1889125"/>
          <a:ext cx="8201025" cy="7326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C731EB-CB75-86E8-A356-F1FC94622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B78D1F7E-3BAD-60FF-498A-A87F7CDE4198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E267F2D-72C6-FDA1-B065-0DFBEF61EAD5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216511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4</TotalTime>
  <Words>217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lanced Data &amp; Insights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1</cp:revision>
  <dcterms:created xsi:type="dcterms:W3CDTF">2006-08-16T00:00:00Z</dcterms:created>
  <dcterms:modified xsi:type="dcterms:W3CDTF">2025-10-06T09:07:34Z</dcterms:modified>
  <cp:category/>
  <dc:identifier>DAGkDf5R9EM</dc:identifier>
</cp:coreProperties>
</file>